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210.xml" ContentType="application/vnd.openxmlformats-officedocument.presentationml.slide+xml"/>
  <Override PartName="/ppt/tags/tag1185.xml" ContentType="application/vnd.openxmlformats-officedocument.presentationml.tags+xml"/>
  <Override PartName="/ppt/tags/tag1190.xml" ContentType="application/vnd.openxmlformats-officedocument.presentationml.tags+xml"/>
  <Override PartName="/ppt/tags/tag1198.xml" ContentType="application/vnd.openxmlformats-officedocument.presentationml.tags+xml"/>
  <Override PartName="/ppt/tags/tag1211.xml" ContentType="application/vnd.openxmlformats-officedocument.presentationml.tags+xml"/>
  <Override PartName="/ppt/tags/tag1193.xml" ContentType="application/vnd.openxmlformats-officedocument.presentationml.tags+xml"/>
  <Override PartName="/ppt/tags/tag1206.xml" ContentType="application/vnd.openxmlformats-officedocument.presentationml.tags+xml"/>
  <Override PartName="/ppt/tags/tag1214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179.xml" ContentType="application/vnd.openxmlformats-officedocument.presentationml.tags+xml"/>
  <Override PartName="/ppt/tags/tag1174.xml" ContentType="application/vnd.openxmlformats-officedocument.presentationml.tags+xml"/>
  <Override PartName="/ppt/tags/tag1188.xml" ContentType="application/vnd.openxmlformats-officedocument.presentationml.tags+xml"/>
  <Override PartName="/ppt/tags/tag1201.xml" ContentType="application/vnd.openxmlformats-officedocument.presentationml.tags+xml"/>
  <Override PartName="/ppt/tags/tag1183.xml" ContentType="application/vnd.openxmlformats-officedocument.presentationml.tags+xml"/>
  <Override PartName="/ppt/tags/tag1196.xml" ContentType="application/vnd.openxmlformats-officedocument.presentationml.tags+xml"/>
  <Override PartName="/ppt/tags/tag1204.xml" ContentType="application/vnd.openxmlformats-officedocument.presentationml.tags+xml"/>
  <Override PartName="/ppt/tags/tag1209.xml" ContentType="application/vnd.openxmlformats-officedocument.presentationml.tags+xml"/>
  <Override PartName="/ppt/tags/tag1212.xml" ContentType="application/vnd.openxmlformats-officedocument.presentationml.tags+xml"/>
  <Override PartName="/ppt/tags/tag1217.xml" ContentType="application/vnd.openxmlformats-officedocument.presentationml.tags+xml"/>
  <Override PartName="/ppt/tags/tag1177.xml" ContentType="application/vnd.openxmlformats-officedocument.presentationml.tags+xml"/>
  <Override PartName="/ppt/tags/tag1187.xml" ContentType="application/vnd.openxmlformats-officedocument.presentationml.tags+xml"/>
  <Override PartName="/ppt/tags/tag1195.xml" ContentType="application/vnd.openxmlformats-officedocument.presentationml.tags+xml"/>
  <Override PartName="/ppt/tags/tag1200.xml" ContentType="application/vnd.openxmlformats-officedocument.presentationml.tags+xml"/>
  <Override PartName="/ppt/tags/tag1208.xml" ContentType="application/vnd.openxmlformats-officedocument.presentationml.tags+xml"/>
  <Override PartName="/ppt/tags/tag1182.xml" ContentType="application/vnd.openxmlformats-officedocument.presentationml.tags+xml"/>
  <Override PartName="/ppt/tags/tag1191.xml" ContentType="application/vnd.openxmlformats-officedocument.presentationml.tags+xml"/>
  <Override PartName="/ppt/tags/tag1203.xml" ContentType="application/vnd.openxmlformats-officedocument.presentationml.tags+xml"/>
  <Override PartName="/ppt/tags/tag1216.xml" ContentType="application/vnd.openxmlformats-officedocument.presentationml.tags+xml"/>
  <Override PartName="/ppt/tags/tag1176.xml" ContentType="application/vnd.openxmlformats-officedocument.presentationml.tags+xml"/>
  <Override PartName="/ppt/tags/tag1181.xml" ContentType="application/vnd.openxmlformats-officedocument.presentationml.tags+xml"/>
  <Override PartName="/ppt/tags/tag1186.xml" ContentType="application/vnd.openxmlformats-officedocument.presentationml.tags+xml"/>
  <Override PartName="/ppt/tags/tag1194.xml" ContentType="application/vnd.openxmlformats-officedocument.presentationml.tags+xml"/>
  <Override PartName="/ppt/tags/tag1199.xml" ContentType="application/vnd.openxmlformats-officedocument.presentationml.tags+xml"/>
  <Override PartName="/ppt/tags/tag1202.xml" ContentType="application/vnd.openxmlformats-officedocument.presentationml.tags+xml"/>
  <Override PartName="/ppt/tags/tag1207.xml" ContentType="application/vnd.openxmlformats-officedocument.presentationml.tags+xml"/>
  <Override PartName="/ppt/tags/tag1215.xml" ContentType="application/vnd.openxmlformats-officedocument.presentationml.tags+xml"/>
  <Override PartName="/ppt/notesSlides/notesSlide210.xml" ContentType="application/vnd.openxmlformats-officedocument.presentationml.notesSlide+xml"/>
  <Override PartName="/ppt/tags/tag1180.xml" ContentType="application/vnd.openxmlformats-officedocument.presentationml.tags+xml"/>
  <Override PartName="/ppt/charts/chart44.xml" ContentType="application/vnd.openxmlformats-officedocument.drawingml.chart+xml"/>
  <Override PartName="/ppt/tags/tag1175.xml" ContentType="application/vnd.openxmlformats-officedocument.presentationml.tags+xml"/>
  <Override PartName="/ppt/tags/tag1184.xml" ContentType="application/vnd.openxmlformats-officedocument.presentationml.tags+xml"/>
  <Override PartName="/ppt/tags/tag1189.xml" ContentType="application/vnd.openxmlformats-officedocument.presentationml.tags+xml"/>
  <Override PartName="/ppt/tags/tag1197.xml" ContentType="application/vnd.openxmlformats-officedocument.presentationml.tags+xml"/>
  <Override PartName="/ppt/tags/tag1205.xml" ContentType="application/vnd.openxmlformats-officedocument.presentationml.tags+xml"/>
  <Override PartName="/ppt/tags/tag1210.xml" ContentType="application/vnd.openxmlformats-officedocument.presentationml.tags+xml"/>
  <Override PartName="/ppt/tags/tag1218.xml" ContentType="application/vnd.openxmlformats-officedocument.presentationml.tags+xml"/>
  <Override PartName="/ppt/tags/tag1192.xml" ContentType="application/vnd.openxmlformats-officedocument.presentationml.tags+xml"/>
  <Override PartName="/ppt/tags/tag1213.xml" ContentType="application/vnd.openxmlformats-officedocument.presentationml.tags+xml"/>
  <Override PartName="/ppt/tags/tag1178.xml" ContentType="application/vnd.openxmlformats-officedocument.presentationml.tag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37" r:id="rId21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210.xml" Id="rId213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44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43.xlsb" Id="rId1" /></Relationships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11725038068305E-2"/>
          <c:y val="2.5267249757045675E-2"/>
          <c:w val="0.97737654992386336"/>
          <c:h val="0.9494655004859086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val>
            <c:numRef>
              <c:f>Sheet1!$A$1:$E$1</c:f>
              <c:numCache>
                <c:formatCode>General</c:formatCode>
                <c:ptCount val="5"/>
                <c:pt idx="0">
                  <c:v>6528.5797839999996</c:v>
                </c:pt>
                <c:pt idx="1">
                  <c:v>14570.187377</c:v>
                </c:pt>
                <c:pt idx="2">
                  <c:v>23611.794969999999</c:v>
                </c:pt>
                <c:pt idx="3">
                  <c:v>30653.402563</c:v>
                </c:pt>
                <c:pt idx="4">
                  <c:v>33695.010155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A9-4A23-9D80-DADCF5ABC512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val>
            <c:numRef>
              <c:f>Sheet1!$A$2:$E$2</c:f>
              <c:numCache>
                <c:formatCode>General</c:formatCode>
                <c:ptCount val="5"/>
                <c:pt idx="0">
                  <c:v>10415.746495000001</c:v>
                </c:pt>
                <c:pt idx="1">
                  <c:v>11618.016970999999</c:v>
                </c:pt>
                <c:pt idx="2">
                  <c:v>12820.287446999999</c:v>
                </c:pt>
                <c:pt idx="3">
                  <c:v>13022.557922999997</c:v>
                </c:pt>
                <c:pt idx="4">
                  <c:v>14224.828398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A9-4A23-9D80-DADCF5ABC512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val>
            <c:numRef>
              <c:f>Sheet1!$A$3:$E$3</c:f>
              <c:numCache>
                <c:formatCode>General</c:formatCode>
                <c:ptCount val="5"/>
                <c:pt idx="0">
                  <c:v>10300.188625999999</c:v>
                </c:pt>
                <c:pt idx="1">
                  <c:v>13254.944547999999</c:v>
                </c:pt>
                <c:pt idx="2">
                  <c:v>16209.700469999996</c:v>
                </c:pt>
                <c:pt idx="3">
                  <c:v>19164.456392</c:v>
                </c:pt>
                <c:pt idx="4">
                  <c:v>22119.212314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A9-4A23-9D80-DADCF5ABC512}"/>
            </c:ext>
          </c:extLst>
        </c:ser>
        <c:ser>
          <c:idx val="3"/>
          <c:order val="3"/>
          <c:spPr>
            <a:solidFill>
              <a:schemeClr val="bg2"/>
            </a:solidFill>
            <a:ln>
              <a:noFill/>
            </a:ln>
          </c:spPr>
          <c:val>
            <c:numRef>
              <c:f>Sheet1!$A$4:$E$4</c:f>
              <c:numCache>
                <c:formatCode>General</c:formatCode>
                <c:ptCount val="5"/>
                <c:pt idx="0">
                  <c:v>4683.8126339999981</c:v>
                </c:pt>
                <c:pt idx="1">
                  <c:v>5622.2479820000008</c:v>
                </c:pt>
                <c:pt idx="2">
                  <c:v>6560.6833299999998</c:v>
                </c:pt>
                <c:pt idx="3">
                  <c:v>7499.1186780000062</c:v>
                </c:pt>
                <c:pt idx="4">
                  <c:v>8437.554025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8A9-4A23-9D80-DADCF5ABC5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7358752"/>
        <c:axId val="1"/>
      </c:areaChart>
      <c:catAx>
        <c:axId val="327358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zh-CN"/>
          </a:p>
        </c:txPr>
        <c:crossAx val="327358752"/>
        <c:crosses val="min"/>
        <c:crossBetween val="midCat"/>
        <c:majorUnit val="10000"/>
      </c:valAx>
    </c:plotArea>
    <c:plotVisOnly val="0"/>
    <c:dispBlanksAs val="zero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1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10.xml.rels>&#65279;<?xml version="1.0" encoding="utf-8"?><Relationships xmlns="http://schemas.openxmlformats.org/package/2006/relationships"><Relationship Type="http://schemas.openxmlformats.org/officeDocument/2006/relationships/slide" Target="/ppt/slides/slide210.xml" Id="rId2" /><Relationship Type="http://schemas.openxmlformats.org/officeDocument/2006/relationships/notesMaster" Target="/ppt/notesMasters/notesMaster1.xml" Id="rId1" /></Relationships>
</file>

<file path=ppt/notesSlides/notesSlide2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31369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10.xml.rels>&#65279;<?xml version="1.0" encoding="utf-8"?><Relationships xmlns="http://schemas.openxmlformats.org/package/2006/relationships"><Relationship Type="http://schemas.openxmlformats.org/officeDocument/2006/relationships/tags" Target="/ppt/tags/tag1185.xml" Id="rId13" /><Relationship Type="http://schemas.openxmlformats.org/officeDocument/2006/relationships/tags" Target="/ppt/tags/tag1190.xml" Id="rId18" /><Relationship Type="http://schemas.openxmlformats.org/officeDocument/2006/relationships/tags" Target="/ppt/tags/tag1198.xml" Id="rId26" /><Relationship Type="http://schemas.openxmlformats.org/officeDocument/2006/relationships/tags" Target="/ppt/tags/tag1211.xml" Id="rId39" /><Relationship Type="http://schemas.openxmlformats.org/officeDocument/2006/relationships/tags" Target="/ppt/tags/tag1193.xml" Id="rId21" /><Relationship Type="http://schemas.openxmlformats.org/officeDocument/2006/relationships/tags" Target="/ppt/tags/tag1206.xml" Id="rId34" /><Relationship Type="http://schemas.openxmlformats.org/officeDocument/2006/relationships/tags" Target="/ppt/tags/tag1214.xml" Id="rId42" /><Relationship Type="http://schemas.openxmlformats.org/officeDocument/2006/relationships/slideLayout" Target="/ppt/slideLayouts/slideLayout5.xml" Id="rId47" /><Relationship Type="http://schemas.openxmlformats.org/officeDocument/2006/relationships/image" Target="/ppt/media/image4.emf" Id="rId50" /><Relationship Type="http://schemas.openxmlformats.org/officeDocument/2006/relationships/tags" Target="/ppt/tags/tag1179.xml" Id="rId7" /><Relationship Type="http://schemas.openxmlformats.org/officeDocument/2006/relationships/tags" Target="/ppt/tags/tag1174.xml" Id="rId2" /><Relationship Type="http://schemas.openxmlformats.org/officeDocument/2006/relationships/tags" Target="/ppt/tags/tag1188.xml" Id="rId16" /><Relationship Type="http://schemas.openxmlformats.org/officeDocument/2006/relationships/tags" Target="/ppt/tags/tag1201.xml" Id="rId29" /><Relationship Type="http://schemas.openxmlformats.org/officeDocument/2006/relationships/tags" Target="/ppt/tags/tag1183.xml" Id="rId11" /><Relationship Type="http://schemas.openxmlformats.org/officeDocument/2006/relationships/tags" Target="/ppt/tags/tag1196.xml" Id="rId24" /><Relationship Type="http://schemas.openxmlformats.org/officeDocument/2006/relationships/tags" Target="/ppt/tags/tag1204.xml" Id="rId32" /><Relationship Type="http://schemas.openxmlformats.org/officeDocument/2006/relationships/tags" Target="/ppt/tags/tag1209.xml" Id="rId37" /><Relationship Type="http://schemas.openxmlformats.org/officeDocument/2006/relationships/tags" Target="/ppt/tags/tag1212.xml" Id="rId40" /><Relationship Type="http://schemas.openxmlformats.org/officeDocument/2006/relationships/tags" Target="/ppt/tags/tag1217.xml" Id="rId45" /><Relationship Type="http://schemas.openxmlformats.org/officeDocument/2006/relationships/tags" Target="/ppt/tags/tag1177.xml" Id="rId5" /><Relationship Type="http://schemas.openxmlformats.org/officeDocument/2006/relationships/tags" Target="/ppt/tags/tag1187.xml" Id="rId15" /><Relationship Type="http://schemas.openxmlformats.org/officeDocument/2006/relationships/tags" Target="/ppt/tags/tag1195.xml" Id="rId23" /><Relationship Type="http://schemas.openxmlformats.org/officeDocument/2006/relationships/tags" Target="/ppt/tags/tag1200.xml" Id="rId28" /><Relationship Type="http://schemas.openxmlformats.org/officeDocument/2006/relationships/tags" Target="/ppt/tags/tag1208.xml" Id="rId36" /><Relationship Type="http://schemas.openxmlformats.org/officeDocument/2006/relationships/oleObject" Target="/ppt/embeddings/oleObject214.bin" Id="rId49" /><Relationship Type="http://schemas.openxmlformats.org/officeDocument/2006/relationships/tags" Target="/ppt/tags/tag1182.xml" Id="rId10" /><Relationship Type="http://schemas.openxmlformats.org/officeDocument/2006/relationships/tags" Target="/ppt/tags/tag1191.xml" Id="rId19" /><Relationship Type="http://schemas.openxmlformats.org/officeDocument/2006/relationships/tags" Target="/ppt/tags/tag1203.xml" Id="rId31" /><Relationship Type="http://schemas.openxmlformats.org/officeDocument/2006/relationships/tags" Target="/ppt/tags/tag1216.xml" Id="rId44" /><Relationship Type="http://schemas.openxmlformats.org/officeDocument/2006/relationships/tags" Target="/ppt/tags/tag1176.xml" Id="rId4" /><Relationship Type="http://schemas.openxmlformats.org/officeDocument/2006/relationships/tags" Target="/ppt/tags/tag1181.xml" Id="rId9" /><Relationship Type="http://schemas.openxmlformats.org/officeDocument/2006/relationships/tags" Target="/ppt/tags/tag1186.xml" Id="rId14" /><Relationship Type="http://schemas.openxmlformats.org/officeDocument/2006/relationships/tags" Target="/ppt/tags/tag1194.xml" Id="rId22" /><Relationship Type="http://schemas.openxmlformats.org/officeDocument/2006/relationships/tags" Target="/ppt/tags/tag1199.xml" Id="rId27" /><Relationship Type="http://schemas.openxmlformats.org/officeDocument/2006/relationships/tags" Target="/ppt/tags/tag1202.xml" Id="rId30" /><Relationship Type="http://schemas.openxmlformats.org/officeDocument/2006/relationships/tags" Target="/ppt/tags/tag1207.xml" Id="rId35" /><Relationship Type="http://schemas.openxmlformats.org/officeDocument/2006/relationships/tags" Target="/ppt/tags/tag1215.xml" Id="rId43" /><Relationship Type="http://schemas.openxmlformats.org/officeDocument/2006/relationships/notesSlide" Target="/ppt/notesSlides/notesSlide210.xml" Id="rId48" /><Relationship Type="http://schemas.openxmlformats.org/officeDocument/2006/relationships/tags" Target="/ppt/tags/tag1180.xml" Id="rId8" /><Relationship Type="http://schemas.openxmlformats.org/officeDocument/2006/relationships/chart" Target="/ppt/charts/chart44.xml" Id="rId51" /><Relationship Type="http://schemas.openxmlformats.org/officeDocument/2006/relationships/tags" Target="/ppt/tags/tag1175.xml" Id="rId3" /><Relationship Type="http://schemas.openxmlformats.org/officeDocument/2006/relationships/tags" Target="/ppt/tags/tag1184.xml" Id="rId12" /><Relationship Type="http://schemas.openxmlformats.org/officeDocument/2006/relationships/tags" Target="/ppt/tags/tag1189.xml" Id="rId17" /><Relationship Type="http://schemas.openxmlformats.org/officeDocument/2006/relationships/tags" Target="/ppt/tags/tag1197.xml" Id="rId25" /><Relationship Type="http://schemas.openxmlformats.org/officeDocument/2006/relationships/tags" Target="/ppt/tags/tag1205.xml" Id="rId33" /><Relationship Type="http://schemas.openxmlformats.org/officeDocument/2006/relationships/tags" Target="/ppt/tags/tag1210.xml" Id="rId38" /><Relationship Type="http://schemas.openxmlformats.org/officeDocument/2006/relationships/tags" Target="/ppt/tags/tag1218.xml" Id="rId46" /><Relationship Type="http://schemas.openxmlformats.org/officeDocument/2006/relationships/tags" Target="/ppt/tags/tag1192.xml" Id="rId20" /><Relationship Type="http://schemas.openxmlformats.org/officeDocument/2006/relationships/tags" Target="/ppt/tags/tag1213.xml" Id="rId41" /><Relationship Type="http://schemas.openxmlformats.org/officeDocument/2006/relationships/vmlDrawing" Target="/ppt/drawings/vmlDrawing214.vml" Id="rId1" /><Relationship Type="http://schemas.openxmlformats.org/officeDocument/2006/relationships/tags" Target="/ppt/tags/tag1178.xml" Id="rId6" /></Relationships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1543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5" name="think-cell 幻灯片" r:id="rId49" imgW="349" imgH="350" progId="TCLayout.ActiveDocument.1">
                  <p:embed/>
                </p:oleObj>
              </mc:Choice>
              <mc:Fallback>
                <p:oleObj name="think-cell 幻灯片" r:id="rId49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 series: </a:t>
            </a:r>
            <a:r>
              <a:rPr lang="en-US" altLang="en-US"/>
              <a:t>Area</a:t>
            </a:r>
            <a:endParaRPr lang="en-US"/>
          </a:p>
        </p:txBody>
      </p:sp>
      <p:graphicFrame>
        <p:nvGraphicFramePr>
          <p:cNvPr id="67" name="Chart 3">
            <a:extLst>
              <a:ext uri="{FF2B5EF4-FFF2-40B4-BE49-F238E27FC236}">
                <a16:creationId xmlns:a16="http://schemas.microsoft.com/office/drawing/2014/main" id="{395E4D98-231B-409F-97C1-1D6E3B06F8B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07149257"/>
              </p:ext>
            </p:extLst>
          </p:nvPr>
        </p:nvGraphicFramePr>
        <p:xfrm>
          <a:off x="688975" y="2239963"/>
          <a:ext cx="7297738" cy="3267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04813" y="4930775"/>
            <a:ext cx="190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08E4890-261A-41DA-BFFA-990EBC480216}" type="datetime'''''''''''''''''1''''''''''''0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68300" y="4543425"/>
            <a:ext cx="227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FD97700-8CE7-43D0-82A0-693C4CB2EF2C}" type="datetime'''''''2''''''''''''''''0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69888" y="4154488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FF48397-72ED-4378-80D5-EBA3EDED07D3}" type="datetime'''''''''3''''''''''''''''0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365125" y="3767138"/>
            <a:ext cx="230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D14FCDA-B734-43CF-8276-235014E51E42}" type="datetime'''''''''''''''''''''''''4''''''''''''''''0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366713" y="3379788"/>
            <a:ext cx="228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B709DDC-470A-414A-8F87-DD08902BD709}" type="datetime'''''''''''''''''5''''''''''''''''''0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68300" y="2992438"/>
            <a:ext cx="227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CB0171C-7896-4EAC-B38F-C3AAA7484A67}" type="datetime'''''6''''''0''''''''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82588" y="2603500"/>
            <a:ext cx="212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092F68C-EF27-4CAE-A72D-F35EA4E6F167}" type="datetime'''''''''''''''''''''7''''''0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365125" y="2216150"/>
            <a:ext cx="230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F2334E0-F4D6-4A62-B93F-7449F30C9100}" type="datetime'''''''''''''''''''''''''''''''''''''''''''''''8''0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479424" y="5334000"/>
            <a:ext cx="115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83620BAD-973A-45D7-8725-D2BDA486B0C6}" type="datetime'''''''''0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" name="Rectangle 44">
            <a:extLst>
              <a:ext uri="{FF2B5EF4-FFF2-40B4-BE49-F238E27FC236}">
                <a16:creationId xmlns:a16="http://schemas.microsoft.com/office/drawing/2014/main" id="{FC112AA1-4DEB-6183-4040-403B3D79813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65125" y="1860550"/>
            <a:ext cx="14017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Growth [USD m]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815976" y="4181475"/>
            <a:ext cx="238125" cy="19208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84308945-5DCC-4B19-9A21-A2CCB5D36E64}" type="datetime'''''''''''''''''''''''''''''''''''''''''1''5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815975" y="447198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DBC125-AD5D-4862-9EA8-6A6A2C60679E}" type="datetime'''''''''''''''''''''''''32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815975" y="4873625"/>
            <a:ext cx="2698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0B70B9F3-9C4A-46AD-B7EA-188AEDC83101}" type="datetime'''''''''''''''''''''''''3''''''''''''3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815975" y="5202238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741A0375-F985-4850-B142-4A9A303873BE}" type="datetime'2''0''''''''''''''''''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079D87B7-1F22-09EB-53EE-D3FF3563828F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557213" y="5483225"/>
            <a:ext cx="4286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D6E35BC-74E4-4A8C-AAAD-4168AC52F5DE}" type="datetime'''''''''''''20''''''1''''8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2436813" y="3690938"/>
            <a:ext cx="236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6F8D191C-BE35-4521-BEB1-BC567E0EF61D}" type="datetime'''''1''''''''''''''''''''''''''2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417763" y="4056063"/>
            <a:ext cx="273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05C31FF-66B4-4DBB-A661-44636C5C17FF}" type="datetime'''''2''9''''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2417763" y="4538663"/>
            <a:ext cx="273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B69A75BD-C074-4B6F-ADA3-6824A74690BC}" type="datetime'''''''''2''''''''''''''''''''''''''''''''''''''6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76455FB2-D5D8-1BE9-FAF7-F673EE68E0C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324100" y="5483225"/>
            <a:ext cx="4619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B53C2F5-3345-47F3-9899-3B7E5D4A2802}" type="datetime'''''2''0''''''''''''2''''''''''''''''2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4238626" y="3160713"/>
            <a:ext cx="200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EEAC5835-D68A-4315-A854-04978BA45594}" type="datetime'1''''''''''1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210050" y="3602038"/>
            <a:ext cx="258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0EAB18D1-AEF7-47FB-B7BD-02FE8CB62FEE}" type="datetime'''2''''''''''''''''''''''''''''''''''''''''''''''7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202113" y="4165600"/>
            <a:ext cx="273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A6D7DA26-35C8-450E-A3B5-808DBEC094CF}" type="datetime'''''''''''''''''''''''''''''2''''''2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4198938" y="48720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1BEBF10D-B0B8-4327-8657-9D4FB42880F5}" type="datetime'''''''''''''''''''''''4''''0''''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94B1776D-4FC7-5BDA-99CE-4FBFC05A83F7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51300" y="5483225"/>
            <a:ext cx="5746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3C30ACD-938C-4A26-90E6-B94A6A820310}" type="datetime'2''''''0''''''''''''''''''3''''''''''''0''''''''''''F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30F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6021389" y="2747963"/>
            <a:ext cx="200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612A080-8C16-4035-90C0-FE1DF14A4564}" type="datetime'''''''''1''''''''''''''''''''''''''''''''''''''''1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5992813" y="3263900"/>
            <a:ext cx="258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6084FEA-EAA9-4459-BEBD-BCED4F10550A}" type="datetime'''''''''''''''''''''''''''''''''''''''''''''''2''7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6003925" y="3887788"/>
            <a:ext cx="236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89F7B71F-1B04-4596-93A8-8D897D9924FA}" type="datetime'''''''''''''''''''''''''''''1''''''''''''''''''''''9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5981700" y="4735513"/>
            <a:ext cx="279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C615E8F9-C5E3-4525-84D9-811A9A2F695C}" type="datetime'4''''''''''''''''4''''''''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7" name="Rectangle 22">
            <a:extLst>
              <a:ext uri="{FF2B5EF4-FFF2-40B4-BE49-F238E27FC236}">
                <a16:creationId xmlns:a16="http://schemas.microsoft.com/office/drawing/2014/main" id="{F7D4B52F-5AC9-1867-5133-E8DCDAE21EA3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5835650" y="5483225"/>
            <a:ext cx="5730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589A391-7943-4D1D-8F73-53EDCDBBD1FC}" type="datetime'''''''''2''03''''''4''''''''''''''''''''''''''''F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34F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7659689" y="2449513"/>
            <a:ext cx="200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85611F4D-CCBE-4DE2-B634-065288201D79}" type="datetime'''''''''1''''''''''''''1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7583488" y="3041650"/>
            <a:ext cx="276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0CBD2C23-E8C4-4AD8-88CA-ED4B2E497828}" type="datetime'''''''''''''2''''''''''''''''''''''''''''''8''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7620001" y="3746500"/>
            <a:ext cx="239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C6DC78FC-5DF9-453B-B717-1DA01FBD01B9}" type="datetime'''''''''1''''''''''''''''''''''''''''8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7585075" y="4675188"/>
            <a:ext cx="274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0D4A7DA7-ABEF-4545-B4AA-A0D93B25551E}" type="datetime'''4''3''''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3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8" name="Rectangle 23">
            <a:extLst>
              <a:ext uri="{FF2B5EF4-FFF2-40B4-BE49-F238E27FC236}">
                <a16:creationId xmlns:a16="http://schemas.microsoft.com/office/drawing/2014/main" id="{B8A9E084-4FCE-64CD-752A-0079DADA14D2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7618413" y="5483225"/>
            <a:ext cx="5730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2F1020-7F4C-4DE4-8E51-52BC18AC2491}" type="datetime'''2''''''''''''''''03''''''''''''''8''''''''''''''''''F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38F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2419350" y="504666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2B3532-EED2-4042-87E8-16C6A68574F2}" type="datetime'''''''''''''''''''''''''3''''''2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B21758E7-D0F2-48C5-E4F0-EFB60AF9C267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1612900" y="5778500"/>
            <a:ext cx="250825" cy="1873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8602B8A9-6300-CB5E-26CD-71173AD60351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1612900" y="6042025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BE8D3344-F1E1-6F07-18B9-AD63355C925A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2935288" y="577850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69">
            <a:extLst>
              <a:ext uri="{FF2B5EF4-FFF2-40B4-BE49-F238E27FC236}">
                <a16:creationId xmlns:a16="http://schemas.microsoft.com/office/drawing/2014/main" id="{3C8242E9-C1F8-B2A4-8C99-EE4ADD2A9C6A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935288" y="6042025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0355510-9277-D5EC-F46D-4277552D7D9B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914525" y="5773738"/>
            <a:ext cx="3857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8952A20-85E1-414F-96FE-61D2D81758CC}" type="datetime'''''''B''''''P''''''''''''''''''''''''''''''''''''O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BPO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Rectangle 15">
            <a:extLst>
              <a:ext uri="{FF2B5EF4-FFF2-40B4-BE49-F238E27FC236}">
                <a16:creationId xmlns:a16="http://schemas.microsoft.com/office/drawing/2014/main" id="{45A0DBAB-1D2F-4773-93B5-B4BDB83A3AF2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914525" y="6037263"/>
            <a:ext cx="9191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25B3171-1528-4747-ACAC-C617182A4E9B}" type="datetime'''C''''''o''''n''''''''''s''''''u''''l''ti''''''''ng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Consulting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7" name="Rectangle 19">
            <a:extLst>
              <a:ext uri="{FF2B5EF4-FFF2-40B4-BE49-F238E27FC236}">
                <a16:creationId xmlns:a16="http://schemas.microsoft.com/office/drawing/2014/main" id="{87FFA17F-8553-7CA7-47BE-130DAD82C99D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3236913" y="5773738"/>
            <a:ext cx="13446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492CD65-B8BC-4281-A127-FCDB640C0B30}" type="datetime'I''''mpl''''e''m''en''''t''''at''i''''o''''n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Implementatio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99416581-C487-55CD-51D6-1CF48434715C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3236912" y="6037263"/>
            <a:ext cx="15621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5CF73FB-AA88-439A-883B-4EC4BC89B308}" type="datetime'M''a''na''g''e''''''d ''''''se''''''r''''vi''''''c''e''s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Managed service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1F352E3D-5F68-CD64-1BD6-F049B1595B5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6149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comment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D20E973D-17FC-023B-1E4E-B31943127663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82EDCBCB-C159-C3E5-E97D-A43393FB9A1D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4" name="tc_columnhead">
              <a:extLst>
                <a:ext uri="{FF2B5EF4-FFF2-40B4-BE49-F238E27FC236}">
                  <a16:creationId xmlns:a16="http://schemas.microsoft.com/office/drawing/2014/main" id="{264B5CE8-3F59-5EE3-158A-6838B4B6669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6" name="tc_columnheadline">
              <a:extLst>
                <a:ext uri="{FF2B5EF4-FFF2-40B4-BE49-F238E27FC236}">
                  <a16:creationId xmlns:a16="http://schemas.microsoft.com/office/drawing/2014/main" id="{EAA70EF4-BD89-AB51-5C92-E70218118927}"/>
                </a:ext>
              </a:extLst>
            </p:cNvPr>
            <p:cNvCxnSpPr>
              <a:cxnSpLocks/>
              <a:stCxn id="4" idx="4"/>
              <a:endCxn id="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tc_columnheader">
            <a:extLst>
              <a:ext uri="{FF2B5EF4-FFF2-40B4-BE49-F238E27FC236}">
                <a16:creationId xmlns:a16="http://schemas.microsoft.com/office/drawing/2014/main" id="{42C62AE9-9773-B1D9-6433-ABE3A9CA1A3C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8" name="tc_columnhead">
              <a:extLst>
                <a:ext uri="{FF2B5EF4-FFF2-40B4-BE49-F238E27FC236}">
                  <a16:creationId xmlns:a16="http://schemas.microsoft.com/office/drawing/2014/main" id="{63E5812B-55E6-CC78-053F-568EC912AF98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9" name="tc_columnheadline">
              <a:extLst>
                <a:ext uri="{FF2B5EF4-FFF2-40B4-BE49-F238E27FC236}">
                  <a16:creationId xmlns:a16="http://schemas.microsoft.com/office/drawing/2014/main" id="{B964E930-6FA1-7E67-38CA-76D18DAE364E}"/>
                </a:ext>
              </a:extLst>
            </p:cNvPr>
            <p:cNvCxnSpPr>
              <a:cxnSpLocks/>
              <a:stCxn id="8" idx="4"/>
              <a:endCxn id="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7503180-2A33-5AAA-F55C-99D905AF1866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</a:t>
            </a:r>
            <a:r>
              <a:rPr lang="en-US" sz="1200" b="1">
                <a:solidFill>
                  <a:schemeClr val="tx1"/>
                </a:solidFill>
              </a:rPr>
              <a:t>,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60669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ep4hEusf.8tVoqh9Ew5w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uUfxQeuyA7ccsv1i_rOA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pNegKkI6fWaPURLIYJ4g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ZrBh8FRLVnTKA315WsBg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47363P9xv37Riwgu_s1A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ioEEodVIr1qI9X6Vpow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zduJu.jFUPS3q0q1dFdw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1.3oy3klQt5l94FGiSrA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tu4ByWfn7XgS.InVdXow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UxBllCiseVWgnP8.UlnA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aTArr6Oz0UL4eIEeMN9w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canddYqKj9xOKKXNUmjg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V1EA_wzN4Uo848eiL2zw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jXMhdWKyX.67908_At7A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reoIHrJM.x8YRqVS0V2g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ZHAaiX4HQ8A_YeEOqXUg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I26QriUvC5ooIQCR_X5A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a5reIJCumFVpmRjpBnGw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jNvj_Ov57APivebJSY1A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y40fcG2_RvMqVX_mlzYQ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pXYQ2Aby5UO1Rmem9Org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Ouz0kcVtkvzo2nxlJbmw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bOINf1DBGsy5KPZDEKug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WPF8DedRpxdeXbBYpfkg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mvSXYIjgga4Il9yTktjw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a.zWRyFpzmJMb2g2cknw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jj44Whe01w5G32ucSFkA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ObruXm57KWkjb_x40MVQ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jzK2qf0QKLDDuyBI9hJQ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yBtrm3AqdjjUilw8iXw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whyNcPy0nfVZrqK7ioPg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WoXvMzHAqb.gDVW8p0cg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mE1I7Atq7EmG41PAZVzg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zyTPVuOfMJzUk0yUNUrg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2_Flgfa.Qt.6uEm.YXxA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GfIFw1nrcwJXP2z_pDdA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l5j11jwcZBxEUGVRFiRA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bC1NP0gNVC.3NQAdt8Kw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vSiWgftsQWuSGKRX6GQ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b4THabn.CHELmawciJNw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UtxEs1ed8pgA3Wti5o2Q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uPjTC2pbEIukKKIHFlGA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LhZJLsZStfmeg50poFcg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rBi3MwbMlJXP.X6uHN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